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10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软雅黑" panose="020B0503020204020204" pitchFamily="34" charset="-122"/>
      <p:regular r:id="rId19"/>
    </p:embeddedFont>
    <p:embeddedFont>
      <p:font typeface="Garamond" panose="02020404030301010803" pitchFamily="18" charset="0"/>
      <p:regular r:id="rId20"/>
      <p:bold r:id="rId21"/>
      <p:italic r:id="rId22"/>
    </p:embeddedFont>
    <p:embeddedFont>
      <p:font typeface="华文细黑" panose="02010600040101010101" pitchFamily="2" charset="-122"/>
      <p:regular r:id="rId23"/>
    </p:embeddedFont>
    <p:embeddedFont>
      <p:font typeface="等线" panose="02010600030101010101" charset="-122"/>
      <p:regular r:id="rId24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10" d="100"/>
          <a:sy n="110" d="100"/>
        </p:scale>
        <p:origin x="658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font" Target="fonts/font10.fntdata"/><Relationship Id="rId23" Type="http://schemas.openxmlformats.org/officeDocument/2006/relationships/font" Target="fonts/font9.fntdata"/><Relationship Id="rId22" Type="http://schemas.openxmlformats.org/officeDocument/2006/relationships/font" Target="fonts/font8.fntdata"/><Relationship Id="rId21" Type="http://schemas.openxmlformats.org/officeDocument/2006/relationships/font" Target="fonts/font7.fntdata"/><Relationship Id="rId20" Type="http://schemas.openxmlformats.org/officeDocument/2006/relationships/font" Target="fonts/font6.fntdata"/><Relationship Id="rId2" Type="http://schemas.openxmlformats.org/officeDocument/2006/relationships/theme" Target="theme/theme1.xml"/><Relationship Id="rId19" Type="http://schemas.openxmlformats.org/officeDocument/2006/relationships/font" Target="fonts/font5.fntdata"/><Relationship Id="rId18" Type="http://schemas.openxmlformats.org/officeDocument/2006/relationships/font" Target="fonts/font4.fntdata"/><Relationship Id="rId17" Type="http://schemas.openxmlformats.org/officeDocument/2006/relationships/font" Target="fonts/font3.fntdata"/><Relationship Id="rId16" Type="http://schemas.openxmlformats.org/officeDocument/2006/relationships/font" Target="fonts/font2.fntdata"/><Relationship Id="rId15" Type="http://schemas.openxmlformats.org/officeDocument/2006/relationships/font" Target="fonts/font1.fntdata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0FB31BBA-24C8-47C7-9B88-17E4D0C14A0C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7F0A5FB1-DB96-4143-BF43-92D4752D3604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3EB59-42ED-4A16-85B4-4F96D1D61B88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43FA548-2D90-4AEE-9C28-F8EDE6D13A4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0D208-5739-484C-9194-A444B8ACFC2F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E43C1-BAE3-4A18-93AD-8EDA80B14F3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83FB46-11EA-4DFF-8395-0A00F2D98ED9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3EB1E-716D-4A1E-BF3C-1F1CC40D9A2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596157-5823-4C38-AF43-AE6AFA2B1F7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B673B4-5C9A-4D00-BB6F-2DF0A4E6F57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A037A-6A8C-49DD-8DE1-41D1F728CAF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D7292-C922-4075-9B70-0A0C3E8EBF2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EC26F5-288D-42A7-8805-3A8F2E9111E8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EB9C9-1BDF-4344-A4BF-4748B2A3B70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FE587-DA04-4377-9EE1-142FEC0AD902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81D02-786D-428E-B278-8D225781BE2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31DF-D860-444D-92F9-7F09B0A65AD0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065BA5-2913-488E-9154-77D61E609C2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C2CF6-0A1C-4106-89CE-E65020677A76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5A8F8-23E8-4894-862E-4043E62A3D5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B0F70B-3949-4A52-B0B4-65381BF98D1E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0CE247-523A-4EE3-98F8-D7B8FE78412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631CF1-7295-4ADC-A463-55144AA4D873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F6556C-4463-4712-82BF-B9C536B7A4D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F62C828-D3C2-4AC1-8DAA-3913917FD900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FF43E67F-2478-4C67-8E83-923FB9DE6B21}" type="slidenum">
              <a:rPr lang="zh-CN" altLang="en-US"/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0" y="647700"/>
            <a:ext cx="9144000" cy="4500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6350" y="596900"/>
            <a:ext cx="1217613" cy="460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 flipV="1">
            <a:off x="793750" y="596900"/>
            <a:ext cx="8351838" cy="460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-22225" y="5035550"/>
            <a:ext cx="9180513" cy="1079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slideLayout" Target="../slideLayouts/slideLayout7.xml"/><Relationship Id="rId17" Type="http://schemas.openxmlformats.org/officeDocument/2006/relationships/image" Target="../media/image3.png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1400175"/>
            <a:ext cx="9144000" cy="36750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385763" y="1697038"/>
            <a:ext cx="8628062" cy="32877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3" y="1693863"/>
            <a:ext cx="4425950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788" y="1697038"/>
            <a:ext cx="3602037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5926138" y="1697038"/>
            <a:ext cx="3217862" cy="329406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0" y="1693863"/>
            <a:ext cx="3863975" cy="3290887"/>
          </a:xfrm>
          <a:prstGeom prst="rect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889000" y="1693863"/>
            <a:ext cx="1768475" cy="3290887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391275" y="1703388"/>
            <a:ext cx="1746250" cy="3279775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3" name="TextBox 12"/>
          <p:cNvSpPr txBox="1"/>
          <p:nvPr/>
        </p:nvSpPr>
        <p:spPr bwMode="auto">
          <a:xfrm>
            <a:off x="1089025" y="793750"/>
            <a:ext cx="3262313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spc="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</a:t>
            </a:r>
            <a:endParaRPr lang="zh-CN" altLang="en-US" b="1" spc="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84774" y="1634394"/>
            <a:ext cx="923330" cy="3112775"/>
          </a:xfrm>
          <a:prstGeom prst="rect">
            <a:avLst/>
          </a:prstGeom>
          <a:noFill/>
        </p:spPr>
        <p:txBody>
          <a:bodyPr vert="eaVert"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en-US" altLang="zh-CN" sz="4800" dirty="0" smtClean="0">
                <a:solidFill>
                  <a:schemeClr val="bg1">
                    <a:lumMod val="50000"/>
                    <a:alpha val="30000"/>
                  </a:schemeClr>
                </a:solidFill>
                <a:latin typeface="Garamond" panose="02020404030301010803" pitchFamily="18" charset="0"/>
                <a:ea typeface="+mn-ea"/>
              </a:rPr>
              <a:t>BUSINESS</a:t>
            </a:r>
            <a:endParaRPr lang="en-US" altLang="zh-CN" sz="4800" dirty="0">
              <a:solidFill>
                <a:schemeClr val="bg1">
                  <a:lumMod val="50000"/>
                  <a:alpha val="30000"/>
                </a:schemeClr>
              </a:solidFill>
              <a:latin typeface="Garamond" panose="02020404030301010803" pitchFamily="18" charset="0"/>
              <a:ea typeface="+mn-ea"/>
            </a:endParaRPr>
          </a:p>
        </p:txBody>
      </p:sp>
      <p:sp>
        <p:nvSpPr>
          <p:cNvPr id="15" name="TextBox 14"/>
          <p:cNvSpPr txBox="1"/>
          <p:nvPr/>
        </p:nvSpPr>
        <p:spPr bwMode="auto">
          <a:xfrm>
            <a:off x="7135813" y="1433513"/>
            <a:ext cx="1878012" cy="2143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商务及相关类别演示</a:t>
            </a:r>
            <a:endParaRPr lang="zh-CN" altLang="en-US" sz="80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1089025" y="257175"/>
            <a:ext cx="4197350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b="1" spc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ea typeface="微软雅黑" panose="020B0503020204020204" pitchFamily="34" charset="-122"/>
              </a:rPr>
              <a:t>POWERPOINT</a:t>
            </a:r>
            <a:endParaRPr lang="zh-CN" altLang="en-US" sz="3600" b="1" spc="600" dirty="0">
              <a:solidFill>
                <a:schemeClr val="bg1">
                  <a:lumMod val="50000"/>
                </a:schemeClr>
              </a:solidFill>
              <a:latin typeface="Garamond" panose="02020404030301010803" pitchFamily="18" charset="0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9" grpId="0" animBg="1"/>
      <p:bldP spid="10" grpId="0" animBg="1"/>
      <p:bldP spid="11" grpId="0" animBg="1"/>
      <p:bldP spid="12" grpId="0" animBg="1"/>
      <p:bldP spid="13" grpId="0"/>
      <p:bldP spid="15" grpId="0"/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76275" y="160338"/>
            <a:ext cx="969963" cy="4619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前  言</a:t>
            </a:r>
            <a:endParaRPr lang="zh-CN" altLang="en-US" sz="2400" dirty="0">
              <a:solidFill>
                <a:schemeClr val="tx1">
                  <a:lumMod val="75000"/>
                  <a:lumOff val="25000"/>
                </a:schemeClr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sp>
        <p:nvSpPr>
          <p:cNvPr id="34" name="Text Box 11"/>
          <p:cNvSpPr txBox="1">
            <a:spLocks noChangeArrowheads="1"/>
          </p:cNvSpPr>
          <p:nvPr/>
        </p:nvSpPr>
        <p:spPr bwMode="auto">
          <a:xfrm>
            <a:off x="1306513" y="2019300"/>
            <a:ext cx="636111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的设计理念：杜绝平庸、专做精品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专业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尽心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意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18"/>
          <p:cNvSpPr>
            <a:spLocks noChangeArrowheads="1"/>
          </p:cNvSpPr>
          <p:nvPr/>
        </p:nvSpPr>
        <p:spPr bwMode="auto">
          <a:xfrm>
            <a:off x="1306513" y="3103563"/>
            <a:ext cx="6361112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000"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0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000"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0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000">
                <a:latin typeface="Arial" panose="020B0604020202020204" pitchFamily="34" charset="0"/>
              </a:rPr>
              <a:t>Here we got China’s largest original PPT material, and the strongest PPT producing team. We got the training for everyone who wants to rapidly improve their PPT skills. </a:t>
            </a:r>
            <a:endParaRPr lang="en-US" altLang="zh-CN" sz="1000">
              <a:latin typeface="Arial" panose="020B0604020202020204" pitchFamily="34" charset="0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1231900" y="2955925"/>
            <a:ext cx="65246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4" grpId="0"/>
      <p:bldP spid="3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 bwMode="auto">
          <a:xfrm>
            <a:off x="2706688" y="2086723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12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3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2" name="组合 1"/>
          <p:cNvGrpSpPr/>
          <p:nvPr/>
        </p:nvGrpSpPr>
        <p:grpSpPr bwMode="auto">
          <a:xfrm>
            <a:off x="3175000" y="1992313"/>
            <a:ext cx="3392488" cy="341312"/>
            <a:chOff x="3174899" y="1992313"/>
            <a:chExt cx="3392589" cy="341312"/>
          </a:xfrm>
        </p:grpSpPr>
        <p:grpSp>
          <p:nvGrpSpPr>
            <p:cNvPr id="5" name="组合 4"/>
            <p:cNvGrpSpPr/>
            <p:nvPr/>
          </p:nvGrpSpPr>
          <p:grpSpPr bwMode="auto">
            <a:xfrm>
              <a:off x="3174899" y="1992313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7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8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9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0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1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1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cxnSp>
          <p:nvCxnSpPr>
            <p:cNvPr id="6" name="直接连接符 5"/>
            <p:cNvCxnSpPr/>
            <p:nvPr/>
          </p:nvCxnSpPr>
          <p:spPr bwMode="auto">
            <a:xfrm>
              <a:off x="4156003" y="2179638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组合 14"/>
          <p:cNvGrpSpPr/>
          <p:nvPr/>
        </p:nvGrpSpPr>
        <p:grpSpPr bwMode="auto">
          <a:xfrm>
            <a:off x="2706688" y="2508998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23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24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3175000" y="2414588"/>
            <a:ext cx="3392488" cy="341312"/>
            <a:chOff x="3174899" y="2414588"/>
            <a:chExt cx="3392589" cy="341312"/>
          </a:xfrm>
        </p:grpSpPr>
        <p:grpSp>
          <p:nvGrpSpPr>
            <p:cNvPr id="16" name="组合 15"/>
            <p:cNvGrpSpPr/>
            <p:nvPr/>
          </p:nvGrpSpPr>
          <p:grpSpPr bwMode="auto">
            <a:xfrm>
              <a:off x="3174899" y="2414588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9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0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1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2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2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cxnSp>
          <p:nvCxnSpPr>
            <p:cNvPr id="17" name="直接连接符 16"/>
            <p:cNvCxnSpPr/>
            <p:nvPr/>
          </p:nvCxnSpPr>
          <p:spPr bwMode="auto">
            <a:xfrm>
              <a:off x="4156003" y="2601913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组合 25"/>
          <p:cNvGrpSpPr/>
          <p:nvPr/>
        </p:nvGrpSpPr>
        <p:grpSpPr bwMode="auto">
          <a:xfrm>
            <a:off x="2706688" y="2932808"/>
            <a:ext cx="239661" cy="152008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34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5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14" name="组合 13"/>
          <p:cNvGrpSpPr/>
          <p:nvPr/>
        </p:nvGrpSpPr>
        <p:grpSpPr bwMode="auto">
          <a:xfrm>
            <a:off x="3175000" y="2838450"/>
            <a:ext cx="3392488" cy="339725"/>
            <a:chOff x="3174899" y="2838450"/>
            <a:chExt cx="3392589" cy="339725"/>
          </a:xfrm>
        </p:grpSpPr>
        <p:grpSp>
          <p:nvGrpSpPr>
            <p:cNvPr id="27" name="组合 26"/>
            <p:cNvGrpSpPr/>
            <p:nvPr/>
          </p:nvGrpSpPr>
          <p:grpSpPr bwMode="auto">
            <a:xfrm>
              <a:off x="3174899" y="2838450"/>
              <a:ext cx="3392589" cy="339725"/>
              <a:chOff x="2798763" y="1855362"/>
              <a:chExt cx="3393328" cy="340600"/>
            </a:xfrm>
            <a:noFill/>
          </p:grpSpPr>
          <p:sp>
            <p:nvSpPr>
              <p:cNvPr id="29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0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31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2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514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3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3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cxnSp>
          <p:nvCxnSpPr>
            <p:cNvPr id="28" name="直接连接符 27"/>
            <p:cNvCxnSpPr/>
            <p:nvPr/>
          </p:nvCxnSpPr>
          <p:spPr bwMode="auto">
            <a:xfrm>
              <a:off x="4156003" y="3025775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组合 36"/>
          <p:cNvGrpSpPr/>
          <p:nvPr/>
        </p:nvGrpSpPr>
        <p:grpSpPr bwMode="auto">
          <a:xfrm>
            <a:off x="2706688" y="3355135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45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46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25" name="组合 24"/>
          <p:cNvGrpSpPr/>
          <p:nvPr/>
        </p:nvGrpSpPr>
        <p:grpSpPr bwMode="auto">
          <a:xfrm>
            <a:off x="3175000" y="3260725"/>
            <a:ext cx="3392488" cy="341313"/>
            <a:chOff x="3174899" y="3260725"/>
            <a:chExt cx="3392589" cy="341313"/>
          </a:xfrm>
        </p:grpSpPr>
        <p:grpSp>
          <p:nvGrpSpPr>
            <p:cNvPr id="38" name="组合 37"/>
            <p:cNvGrpSpPr/>
            <p:nvPr/>
          </p:nvGrpSpPr>
          <p:grpSpPr bwMode="auto">
            <a:xfrm>
              <a:off x="3174899" y="3260725"/>
              <a:ext cx="3392589" cy="341313"/>
              <a:chOff x="2798763" y="1855362"/>
              <a:chExt cx="3393328" cy="340600"/>
            </a:xfrm>
            <a:noFill/>
          </p:grpSpPr>
          <p:sp>
            <p:nvSpPr>
              <p:cNvPr id="40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1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42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3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4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4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cxnSp>
          <p:nvCxnSpPr>
            <p:cNvPr id="39" name="直接连接符 38"/>
            <p:cNvCxnSpPr/>
            <p:nvPr/>
          </p:nvCxnSpPr>
          <p:spPr bwMode="auto">
            <a:xfrm>
              <a:off x="4156003" y="3448050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26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9699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目  录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47" name="图片 4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11080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过渡页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组合 15"/>
          <p:cNvGrpSpPr/>
          <p:nvPr/>
        </p:nvGrpSpPr>
        <p:grpSpPr bwMode="auto">
          <a:xfrm>
            <a:off x="2706688" y="2419031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17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8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</p:grpSp>
      <p:grpSp>
        <p:nvGrpSpPr>
          <p:cNvPr id="19" name="组合 18"/>
          <p:cNvGrpSpPr/>
          <p:nvPr/>
        </p:nvGrpSpPr>
        <p:grpSpPr bwMode="auto">
          <a:xfrm>
            <a:off x="3175000" y="2301875"/>
            <a:ext cx="3392488" cy="341313"/>
            <a:chOff x="3174899" y="1992313"/>
            <a:chExt cx="3392589" cy="341312"/>
          </a:xfrm>
        </p:grpSpPr>
        <p:grpSp>
          <p:nvGrpSpPr>
            <p:cNvPr id="20" name="组合 19"/>
            <p:cNvGrpSpPr/>
            <p:nvPr/>
          </p:nvGrpSpPr>
          <p:grpSpPr bwMode="auto">
            <a:xfrm>
              <a:off x="3174899" y="1992313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22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3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latin typeface="+mn-lt"/>
                  <a:ea typeface="+mn-ea"/>
                </a:endParaRPr>
              </a:p>
            </p:txBody>
          </p:sp>
          <p:sp>
            <p:nvSpPr>
              <p:cNvPr id="24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5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1</a:t>
                </a:r>
                <a:endParaRPr lang="zh-CN" altLang="zh-CN" dirty="0"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6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latin typeface="+mn-lt"/>
                  <a:ea typeface="+mn-ea"/>
                </a:endParaRPr>
              </a:p>
            </p:txBody>
          </p:sp>
        </p:grpSp>
        <p:cxnSp>
          <p:nvCxnSpPr>
            <p:cNvPr id="21" name="直接连接符 20"/>
            <p:cNvCxnSpPr/>
            <p:nvPr/>
          </p:nvCxnSpPr>
          <p:spPr bwMode="auto">
            <a:xfrm>
              <a:off x="4156003" y="2179637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合 30"/>
          <p:cNvGrpSpPr/>
          <p:nvPr/>
        </p:nvGrpSpPr>
        <p:grpSpPr bwMode="auto">
          <a:xfrm>
            <a:off x="1308100" y="1671638"/>
            <a:ext cx="6480175" cy="2566987"/>
            <a:chOff x="1562365" y="1563347"/>
            <a:chExt cx="6480112" cy="2567439"/>
          </a:xfrm>
        </p:grpSpPr>
        <p:grpSp>
          <p:nvGrpSpPr>
            <p:cNvPr id="10260" name="组合 1042"/>
            <p:cNvGrpSpPr/>
            <p:nvPr/>
          </p:nvGrpSpPr>
          <p:grpSpPr bwMode="auto">
            <a:xfrm>
              <a:off x="1562365" y="1563347"/>
              <a:ext cx="6480112" cy="2567439"/>
              <a:chOff x="710744" y="2108200"/>
              <a:chExt cx="7608936" cy="3014664"/>
            </a:xfrm>
          </p:grpSpPr>
          <p:grpSp>
            <p:nvGrpSpPr>
              <p:cNvPr id="10266" name="组合 1037"/>
              <p:cNvGrpSpPr/>
              <p:nvPr/>
            </p:nvGrpSpPr>
            <p:grpSpPr bwMode="auto">
              <a:xfrm>
                <a:off x="5589163" y="2108200"/>
                <a:ext cx="2730517" cy="1527176"/>
                <a:chOff x="5589163" y="2108200"/>
                <a:chExt cx="2730517" cy="1527176"/>
              </a:xfrm>
            </p:grpSpPr>
            <p:sp>
              <p:nvSpPr>
                <p:cNvPr id="58" name="任意多边形 57"/>
                <p:cNvSpPr/>
                <p:nvPr/>
              </p:nvSpPr>
              <p:spPr>
                <a:xfrm>
                  <a:off x="7607624" y="2108200"/>
                  <a:ext cx="37280" cy="1523178"/>
                </a:xfrm>
                <a:custGeom>
                  <a:avLst/>
                  <a:gdLst>
                    <a:gd name="connsiteX0" fmla="*/ 38100 w 38100"/>
                    <a:gd name="connsiteY0" fmla="*/ 34925 h 1530350"/>
                    <a:gd name="connsiteX1" fmla="*/ 0 w 38100"/>
                    <a:gd name="connsiteY1" fmla="*/ 0 h 1530350"/>
                    <a:gd name="connsiteX2" fmla="*/ 0 w 38100"/>
                    <a:gd name="connsiteY2" fmla="*/ 1508125 h 1530350"/>
                    <a:gd name="connsiteX3" fmla="*/ 34925 w 38100"/>
                    <a:gd name="connsiteY3" fmla="*/ 1530350 h 1530350"/>
                    <a:gd name="connsiteX4" fmla="*/ 38100 w 38100"/>
                    <a:gd name="connsiteY4" fmla="*/ 34925 h 1530350"/>
                    <a:gd name="connsiteX0-1" fmla="*/ 38100 w 38100"/>
                    <a:gd name="connsiteY0-2" fmla="*/ 27781 h 1523206"/>
                    <a:gd name="connsiteX1-3" fmla="*/ 0 w 38100"/>
                    <a:gd name="connsiteY1-4" fmla="*/ 0 h 1523206"/>
                    <a:gd name="connsiteX2-5" fmla="*/ 0 w 38100"/>
                    <a:gd name="connsiteY2-6" fmla="*/ 1500981 h 1523206"/>
                    <a:gd name="connsiteX3-7" fmla="*/ 34925 w 38100"/>
                    <a:gd name="connsiteY3-8" fmla="*/ 1523206 h 1523206"/>
                    <a:gd name="connsiteX4-9" fmla="*/ 38100 w 38100"/>
                    <a:gd name="connsiteY4-10" fmla="*/ 27781 h 1523206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38100" h="1523206">
                      <a:moveTo>
                        <a:pt x="38100" y="27781"/>
                      </a:moveTo>
                      <a:lnTo>
                        <a:pt x="0" y="0"/>
                      </a:lnTo>
                      <a:lnTo>
                        <a:pt x="0" y="1500981"/>
                      </a:lnTo>
                      <a:lnTo>
                        <a:pt x="34925" y="1523206"/>
                      </a:lnTo>
                      <a:cubicBezTo>
                        <a:pt x="35983" y="1024731"/>
                        <a:pt x="37042" y="526256"/>
                        <a:pt x="38100" y="27781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59" name="任意多边形 58"/>
                <p:cNvSpPr/>
                <p:nvPr/>
              </p:nvSpPr>
              <p:spPr>
                <a:xfrm>
                  <a:off x="5588889" y="2423276"/>
                  <a:ext cx="61512" cy="581679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0" name="任意多边形 59"/>
                <p:cNvSpPr/>
                <p:nvPr/>
              </p:nvSpPr>
              <p:spPr>
                <a:xfrm>
                  <a:off x="5588889" y="2421412"/>
                  <a:ext cx="2067199" cy="29830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  <a:gd name="connsiteX0-21" fmla="*/ 2046335 w 2046335"/>
                    <a:gd name="connsiteY0-22" fmla="*/ 37505 h 37505"/>
                    <a:gd name="connsiteX1-23" fmla="*/ 1998427 w 2046335"/>
                    <a:gd name="connsiteY1-24" fmla="*/ 0 h 37505"/>
                    <a:gd name="connsiteX2-25" fmla="*/ 0 w 2046335"/>
                    <a:gd name="connsiteY2-26" fmla="*/ 0 h 37505"/>
                    <a:gd name="connsiteX3-27" fmla="*/ 39735 w 2046335"/>
                    <a:gd name="connsiteY3-28" fmla="*/ 37505 h 37505"/>
                    <a:gd name="connsiteX4-29" fmla="*/ 2046335 w 2046335"/>
                    <a:gd name="connsiteY4-3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98427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1" name="Freeform 11"/>
                <p:cNvSpPr/>
                <p:nvPr/>
              </p:nvSpPr>
              <p:spPr bwMode="auto">
                <a:xfrm>
                  <a:off x="5622442" y="2134301"/>
                  <a:ext cx="2697238" cy="15008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6394" h="1500488">
                      <a:moveTo>
                        <a:pt x="2021828" y="0"/>
                      </a:moveTo>
                      <a:lnTo>
                        <a:pt x="2696394" y="745573"/>
                      </a:lnTo>
                      <a:lnTo>
                        <a:pt x="2021828" y="1500488"/>
                      </a:lnTo>
                      <a:lnTo>
                        <a:pt x="2021828" y="1154978"/>
                      </a:lnTo>
                      <a:lnTo>
                        <a:pt x="0" y="1154978"/>
                      </a:lnTo>
                      <a:lnTo>
                        <a:pt x="0" y="314107"/>
                      </a:lnTo>
                      <a:lnTo>
                        <a:pt x="2021828" y="314107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/>
                </a:p>
              </p:txBody>
            </p:sp>
            <p:sp>
              <p:nvSpPr>
                <p:cNvPr id="62" name="Freeform 15"/>
                <p:cNvSpPr/>
                <p:nvPr/>
              </p:nvSpPr>
              <p:spPr bwMode="auto">
                <a:xfrm>
                  <a:off x="5622442" y="2447513"/>
                  <a:ext cx="713920" cy="1053361"/>
                </a:xfrm>
                <a:custGeom>
                  <a:avLst/>
                  <a:gdLst>
                    <a:gd name="T0" fmla="*/ 0 w 382"/>
                    <a:gd name="T1" fmla="*/ 0 h 563"/>
                    <a:gd name="T2" fmla="*/ 382 w 382"/>
                    <a:gd name="T3" fmla="*/ 223 h 563"/>
                    <a:gd name="T4" fmla="*/ 382 w 382"/>
                    <a:gd name="T5" fmla="*/ 563 h 563"/>
                    <a:gd name="T6" fmla="*/ 0 w 382"/>
                    <a:gd name="T7" fmla="*/ 428 h 563"/>
                    <a:gd name="T8" fmla="*/ 0 w 382"/>
                    <a:gd name="T9" fmla="*/ 0 h 563"/>
                    <a:gd name="connsiteX0" fmla="*/ 0 w 10000"/>
                    <a:gd name="connsiteY0" fmla="*/ 0 h 10000"/>
                    <a:gd name="connsiteX1" fmla="*/ 10000 w 10000"/>
                    <a:gd name="connsiteY1" fmla="*/ 4776 h 10000"/>
                    <a:gd name="connsiteX2" fmla="*/ 10000 w 10000"/>
                    <a:gd name="connsiteY2" fmla="*/ 10000 h 10000"/>
                    <a:gd name="connsiteX3" fmla="*/ 0 w 10000"/>
                    <a:gd name="connsiteY3" fmla="*/ 7602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4776"/>
                      </a:lnTo>
                      <a:lnTo>
                        <a:pt x="10000" y="10000"/>
                      </a:lnTo>
                      <a:lnTo>
                        <a:pt x="0" y="76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7" name="组合 1036"/>
              <p:cNvGrpSpPr/>
              <p:nvPr/>
            </p:nvGrpSpPr>
            <p:grpSpPr bwMode="auto">
              <a:xfrm>
                <a:off x="4273116" y="2922588"/>
                <a:ext cx="2066938" cy="1003300"/>
                <a:chOff x="4273116" y="2922588"/>
                <a:chExt cx="2066938" cy="1003300"/>
              </a:xfrm>
            </p:grpSpPr>
            <p:sp>
              <p:nvSpPr>
                <p:cNvPr id="54" name="任意多边形 53"/>
                <p:cNvSpPr/>
                <p:nvPr/>
              </p:nvSpPr>
              <p:spPr>
                <a:xfrm>
                  <a:off x="4272889" y="2926651"/>
                  <a:ext cx="61512" cy="583544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5" name="任意多边形 54"/>
                <p:cNvSpPr/>
                <p:nvPr/>
              </p:nvSpPr>
              <p:spPr>
                <a:xfrm>
                  <a:off x="4272889" y="2922923"/>
                  <a:ext cx="2067200" cy="29830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6" name="Rectangle 7"/>
                <p:cNvSpPr>
                  <a:spLocks noChangeArrowheads="1"/>
                </p:cNvSpPr>
                <p:nvPr/>
              </p:nvSpPr>
              <p:spPr bwMode="auto">
                <a:xfrm>
                  <a:off x="4313898" y="2950889"/>
                  <a:ext cx="2022463" cy="76625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7" name="Freeform 14"/>
                <p:cNvSpPr/>
                <p:nvPr/>
              </p:nvSpPr>
              <p:spPr bwMode="auto">
                <a:xfrm>
                  <a:off x="4313898" y="2950889"/>
                  <a:ext cx="795937" cy="975058"/>
                </a:xfrm>
                <a:custGeom>
                  <a:avLst/>
                  <a:gdLst>
                    <a:gd name="T0" fmla="*/ 0 w 426"/>
                    <a:gd name="T1" fmla="*/ 0 h 521"/>
                    <a:gd name="T2" fmla="*/ 426 w 426"/>
                    <a:gd name="T3" fmla="*/ 235 h 521"/>
                    <a:gd name="T4" fmla="*/ 426 w 426"/>
                    <a:gd name="T5" fmla="*/ 521 h 521"/>
                    <a:gd name="T6" fmla="*/ 0 w 426"/>
                    <a:gd name="T7" fmla="*/ 410 h 521"/>
                    <a:gd name="T8" fmla="*/ 0 w 426"/>
                    <a:gd name="T9" fmla="*/ 0 h 521"/>
                    <a:gd name="connsiteX0" fmla="*/ 0 w 10000"/>
                    <a:gd name="connsiteY0" fmla="*/ 0 h 10000"/>
                    <a:gd name="connsiteX1" fmla="*/ 10000 w 10000"/>
                    <a:gd name="connsiteY1" fmla="*/ 5636 h 10000"/>
                    <a:gd name="connsiteX2" fmla="*/ 10000 w 10000"/>
                    <a:gd name="connsiteY2" fmla="*/ 10000 h 10000"/>
                    <a:gd name="connsiteX3" fmla="*/ 0 w 10000"/>
                    <a:gd name="connsiteY3" fmla="*/ 7869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5636"/>
                      </a:lnTo>
                      <a:lnTo>
                        <a:pt x="10000" y="10000"/>
                      </a:lnTo>
                      <a:lnTo>
                        <a:pt x="0" y="78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8" name="组合 1035"/>
              <p:cNvGrpSpPr/>
              <p:nvPr/>
            </p:nvGrpSpPr>
            <p:grpSpPr bwMode="auto">
              <a:xfrm>
                <a:off x="3047559" y="3476625"/>
                <a:ext cx="2066938" cy="927100"/>
                <a:chOff x="3047559" y="3476625"/>
                <a:chExt cx="2066938" cy="927100"/>
              </a:xfrm>
            </p:grpSpPr>
            <p:sp>
              <p:nvSpPr>
                <p:cNvPr id="50" name="任意多边形 49"/>
                <p:cNvSpPr/>
                <p:nvPr/>
              </p:nvSpPr>
              <p:spPr>
                <a:xfrm>
                  <a:off x="3051955" y="3478502"/>
                  <a:ext cx="61513" cy="581679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1" name="任意多边形 50"/>
                <p:cNvSpPr/>
                <p:nvPr/>
              </p:nvSpPr>
              <p:spPr>
                <a:xfrm>
                  <a:off x="3048227" y="3476638"/>
                  <a:ext cx="2067201" cy="31693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2" name="Rectangle 8"/>
                <p:cNvSpPr>
                  <a:spLocks noChangeArrowheads="1"/>
                </p:cNvSpPr>
                <p:nvPr/>
              </p:nvSpPr>
              <p:spPr bwMode="auto">
                <a:xfrm>
                  <a:off x="3085508" y="3506468"/>
                  <a:ext cx="2024328" cy="673032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3" name="Freeform 13"/>
                <p:cNvSpPr/>
                <p:nvPr/>
              </p:nvSpPr>
              <p:spPr bwMode="auto">
                <a:xfrm>
                  <a:off x="3085508" y="3506468"/>
                  <a:ext cx="814578" cy="896755"/>
                </a:xfrm>
                <a:custGeom>
                  <a:avLst/>
                  <a:gdLst>
                    <a:gd name="T0" fmla="*/ 0 w 435"/>
                    <a:gd name="T1" fmla="*/ 0 h 480"/>
                    <a:gd name="T2" fmla="*/ 435 w 435"/>
                    <a:gd name="T3" fmla="*/ 246 h 480"/>
                    <a:gd name="T4" fmla="*/ 435 w 435"/>
                    <a:gd name="T5" fmla="*/ 480 h 480"/>
                    <a:gd name="T6" fmla="*/ 0 w 435"/>
                    <a:gd name="T7" fmla="*/ 360 h 480"/>
                    <a:gd name="T8" fmla="*/ 0 w 435"/>
                    <a:gd name="T9" fmla="*/ 0 h 480"/>
                    <a:gd name="connsiteX0" fmla="*/ 0 w 10000"/>
                    <a:gd name="connsiteY0" fmla="*/ 0 h 10000"/>
                    <a:gd name="connsiteX1" fmla="*/ 10000 w 10000"/>
                    <a:gd name="connsiteY1" fmla="*/ 6081 h 10000"/>
                    <a:gd name="connsiteX2" fmla="*/ 10000 w 10000"/>
                    <a:gd name="connsiteY2" fmla="*/ 10000 h 10000"/>
                    <a:gd name="connsiteX3" fmla="*/ 0 w 10000"/>
                    <a:gd name="connsiteY3" fmla="*/ 75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6081"/>
                      </a:lnTo>
                      <a:lnTo>
                        <a:pt x="10000" y="10000"/>
                      </a:lnTo>
                      <a:lnTo>
                        <a:pt x="0" y="75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9" name="组合 1034"/>
              <p:cNvGrpSpPr/>
              <p:nvPr/>
            </p:nvGrpSpPr>
            <p:grpSpPr bwMode="auto">
              <a:xfrm>
                <a:off x="1833114" y="4011614"/>
                <a:ext cx="2066938" cy="900112"/>
                <a:chOff x="1833114" y="4011614"/>
                <a:chExt cx="2066938" cy="900112"/>
              </a:xfrm>
            </p:grpSpPr>
            <p:sp>
              <p:nvSpPr>
                <p:cNvPr id="46" name="任意多边形 45"/>
                <p:cNvSpPr/>
                <p:nvPr/>
              </p:nvSpPr>
              <p:spPr>
                <a:xfrm>
                  <a:off x="1832885" y="4011708"/>
                  <a:ext cx="70833" cy="583544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7" name="任意多边形 46"/>
                <p:cNvSpPr/>
                <p:nvPr/>
              </p:nvSpPr>
              <p:spPr>
                <a:xfrm>
                  <a:off x="1832885" y="4013573"/>
                  <a:ext cx="2067201" cy="39151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8" name="Rectangle 9"/>
                <p:cNvSpPr>
                  <a:spLocks noChangeArrowheads="1"/>
                </p:cNvSpPr>
                <p:nvPr/>
              </p:nvSpPr>
              <p:spPr bwMode="auto">
                <a:xfrm>
                  <a:off x="1875758" y="4054589"/>
                  <a:ext cx="2022463" cy="6096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9" name="Freeform 12"/>
                <p:cNvSpPr/>
                <p:nvPr/>
              </p:nvSpPr>
              <p:spPr bwMode="auto">
                <a:xfrm>
                  <a:off x="1875758" y="4054589"/>
                  <a:ext cx="902187" cy="857604"/>
                </a:xfrm>
                <a:custGeom>
                  <a:avLst/>
                  <a:gdLst>
                    <a:gd name="T0" fmla="*/ 0 w 482"/>
                    <a:gd name="T1" fmla="*/ 0 h 459"/>
                    <a:gd name="T2" fmla="*/ 482 w 482"/>
                    <a:gd name="T3" fmla="*/ 234 h 459"/>
                    <a:gd name="T4" fmla="*/ 482 w 482"/>
                    <a:gd name="T5" fmla="*/ 459 h 459"/>
                    <a:gd name="T6" fmla="*/ 0 w 482"/>
                    <a:gd name="T7" fmla="*/ 326 h 459"/>
                    <a:gd name="T8" fmla="*/ 0 w 482"/>
                    <a:gd name="T9" fmla="*/ 0 h 459"/>
                    <a:gd name="connsiteX0" fmla="*/ 0 w 10000"/>
                    <a:gd name="connsiteY0" fmla="*/ 0 h 10000"/>
                    <a:gd name="connsiteX1" fmla="*/ 10000 w 10000"/>
                    <a:gd name="connsiteY1" fmla="*/ 5986 h 10000"/>
                    <a:gd name="connsiteX2" fmla="*/ 10000 w 10000"/>
                    <a:gd name="connsiteY2" fmla="*/ 10000 h 10000"/>
                    <a:gd name="connsiteX3" fmla="*/ 0 w 10000"/>
                    <a:gd name="connsiteY3" fmla="*/ 7102 h 10000"/>
                    <a:gd name="connsiteX4" fmla="*/ 0 w 10000"/>
                    <a:gd name="connsiteY4" fmla="*/ 0 h 10000"/>
                    <a:gd name="connsiteX0-1" fmla="*/ 0 w 10000"/>
                    <a:gd name="connsiteY0-2" fmla="*/ 0 h 10000"/>
                    <a:gd name="connsiteX1-3" fmla="*/ 10000 w 10000"/>
                    <a:gd name="connsiteY1-4" fmla="*/ 6042 h 10000"/>
                    <a:gd name="connsiteX2-5" fmla="*/ 10000 w 10000"/>
                    <a:gd name="connsiteY2-6" fmla="*/ 10000 h 10000"/>
                    <a:gd name="connsiteX3-7" fmla="*/ 0 w 10000"/>
                    <a:gd name="connsiteY3-8" fmla="*/ 7102 h 10000"/>
                    <a:gd name="connsiteX4-9" fmla="*/ 0 w 10000"/>
                    <a:gd name="connsiteY4-10" fmla="*/ 0 h 1000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6042"/>
                      </a:lnTo>
                      <a:lnTo>
                        <a:pt x="10000" y="10000"/>
                      </a:lnTo>
                      <a:lnTo>
                        <a:pt x="0" y="71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70" name="组合 1031"/>
              <p:cNvGrpSpPr/>
              <p:nvPr/>
            </p:nvGrpSpPr>
            <p:grpSpPr bwMode="auto">
              <a:xfrm>
                <a:off x="710744" y="4530726"/>
                <a:ext cx="2071701" cy="592138"/>
                <a:chOff x="710744" y="4530726"/>
                <a:chExt cx="2071701" cy="592138"/>
              </a:xfrm>
            </p:grpSpPr>
            <p:sp>
              <p:nvSpPr>
                <p:cNvPr id="43" name="任意多边形 42"/>
                <p:cNvSpPr/>
                <p:nvPr/>
              </p:nvSpPr>
              <p:spPr>
                <a:xfrm>
                  <a:off x="710744" y="4535593"/>
                  <a:ext cx="76425" cy="583543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97000"/>
                      </a:srgbClr>
                    </a:gs>
                    <a:gs pos="0">
                      <a:srgbClr val="6D6D6D">
                        <a:lumMod val="90000"/>
                        <a:lumOff val="10000"/>
                      </a:srgbClr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4" name="Rectangle 10"/>
                <p:cNvSpPr>
                  <a:spLocks noChangeArrowheads="1"/>
                </p:cNvSpPr>
                <p:nvPr/>
              </p:nvSpPr>
              <p:spPr bwMode="auto">
                <a:xfrm>
                  <a:off x="755481" y="4572880"/>
                  <a:ext cx="2020599" cy="54998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5" name="任意多边形 44"/>
                <p:cNvSpPr/>
                <p:nvPr/>
              </p:nvSpPr>
              <p:spPr>
                <a:xfrm>
                  <a:off x="710744" y="4529999"/>
                  <a:ext cx="2070928" cy="46609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51050" h="44450">
                      <a:moveTo>
                        <a:pt x="2051050" y="44450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44450" y="44450"/>
                      </a:lnTo>
                      <a:lnTo>
                        <a:pt x="2051050" y="444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</p:grpSp>
        <p:sp>
          <p:nvSpPr>
            <p:cNvPr id="33" name="TextBox 11"/>
            <p:cNvSpPr txBox="1">
              <a:spLocks noChangeArrowheads="1"/>
            </p:cNvSpPr>
            <p:nvPr/>
          </p:nvSpPr>
          <p:spPr bwMode="auto">
            <a:xfrm>
              <a:off x="1911612" y="3784650"/>
              <a:ext cx="1401749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11"/>
            <p:cNvSpPr txBox="1">
              <a:spLocks noChangeArrowheads="1"/>
            </p:cNvSpPr>
            <p:nvPr/>
          </p:nvSpPr>
          <p:spPr bwMode="auto">
            <a:xfrm>
              <a:off x="3127625" y="3327370"/>
              <a:ext cx="1511285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en-US" altLang="zh-CN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TextBox 11"/>
            <p:cNvSpPr txBox="1">
              <a:spLocks noChangeArrowheads="1"/>
            </p:cNvSpPr>
            <p:nvPr/>
          </p:nvSpPr>
          <p:spPr bwMode="auto">
            <a:xfrm>
              <a:off x="4227752" y="2927249"/>
              <a:ext cx="1160451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</a:t>
              </a:r>
              <a:r>
                <a:rPr lang="zh-CN" altLang="en-US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TextBox 11"/>
            <p:cNvSpPr txBox="1">
              <a:spLocks noChangeArrowheads="1"/>
            </p:cNvSpPr>
            <p:nvPr/>
          </p:nvSpPr>
          <p:spPr bwMode="auto">
            <a:xfrm>
              <a:off x="5267554" y="2508075"/>
              <a:ext cx="1163627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</a:t>
              </a:r>
              <a:r>
                <a:rPr lang="zh-CN" altLang="en-US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TextBox 11"/>
            <p:cNvSpPr txBox="1">
              <a:spLocks noChangeArrowheads="1"/>
            </p:cNvSpPr>
            <p:nvPr/>
          </p:nvSpPr>
          <p:spPr bwMode="auto">
            <a:xfrm>
              <a:off x="6559766" y="2127008"/>
              <a:ext cx="1162039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en-US" altLang="zh-CN" sz="140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4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3" name="组合 76"/>
          <p:cNvGrpSpPr/>
          <p:nvPr/>
        </p:nvGrpSpPr>
        <p:grpSpPr bwMode="auto">
          <a:xfrm>
            <a:off x="2935288" y="1925638"/>
            <a:ext cx="1444625" cy="1049337"/>
            <a:chOff x="5905200" y="1284276"/>
            <a:chExt cx="1697451" cy="1230836"/>
          </a:xfrm>
        </p:grpSpPr>
        <p:sp>
          <p:nvSpPr>
            <p:cNvPr id="64" name="TextBox 11"/>
            <p:cNvSpPr txBox="1">
              <a:spLocks noChangeArrowheads="1"/>
            </p:cNvSpPr>
            <p:nvPr/>
          </p:nvSpPr>
          <p:spPr bwMode="auto">
            <a:xfrm>
              <a:off x="5905200" y="1284276"/>
              <a:ext cx="1697451" cy="57724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5" name="直接箭头连接符 64"/>
            <p:cNvCxnSpPr/>
            <p:nvPr/>
          </p:nvCxnSpPr>
          <p:spPr bwMode="auto">
            <a:xfrm flipV="1">
              <a:off x="6862114" y="1837314"/>
              <a:ext cx="0" cy="677798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组合 82"/>
          <p:cNvGrpSpPr/>
          <p:nvPr/>
        </p:nvGrpSpPr>
        <p:grpSpPr bwMode="auto">
          <a:xfrm>
            <a:off x="3614738" y="3770313"/>
            <a:ext cx="1398587" cy="935037"/>
            <a:chOff x="6778810" y="1650826"/>
            <a:chExt cx="1642007" cy="1098394"/>
          </a:xfrm>
        </p:grpSpPr>
        <p:sp>
          <p:nvSpPr>
            <p:cNvPr id="67" name="TextBox 11"/>
            <p:cNvSpPr txBox="1">
              <a:spLocks noChangeArrowheads="1"/>
            </p:cNvSpPr>
            <p:nvPr/>
          </p:nvSpPr>
          <p:spPr bwMode="auto">
            <a:xfrm>
              <a:off x="6778810" y="2171118"/>
              <a:ext cx="1642007" cy="5781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8" name="直接箭头连接符 67"/>
            <p:cNvCxnSpPr/>
            <p:nvPr/>
          </p:nvCxnSpPr>
          <p:spPr bwMode="auto">
            <a:xfrm>
              <a:off x="6860817" y="1650826"/>
              <a:ext cx="561003" cy="514698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组合 85"/>
          <p:cNvGrpSpPr/>
          <p:nvPr/>
        </p:nvGrpSpPr>
        <p:grpSpPr bwMode="auto">
          <a:xfrm>
            <a:off x="5505450" y="2994025"/>
            <a:ext cx="1397000" cy="1055688"/>
            <a:chOff x="6576548" y="1650826"/>
            <a:chExt cx="1642007" cy="1241959"/>
          </a:xfrm>
        </p:grpSpPr>
        <p:sp>
          <p:nvSpPr>
            <p:cNvPr id="70" name="TextBox 11"/>
            <p:cNvSpPr txBox="1">
              <a:spLocks noChangeArrowheads="1"/>
            </p:cNvSpPr>
            <p:nvPr/>
          </p:nvSpPr>
          <p:spPr bwMode="auto">
            <a:xfrm>
              <a:off x="6576548" y="2313827"/>
              <a:ext cx="1642007" cy="57895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1" name="直接箭头连接符 70"/>
            <p:cNvCxnSpPr/>
            <p:nvPr/>
          </p:nvCxnSpPr>
          <p:spPr bwMode="auto">
            <a:xfrm>
              <a:off x="6862034" y="1650826"/>
              <a:ext cx="291083" cy="670471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组合 89"/>
          <p:cNvGrpSpPr/>
          <p:nvPr/>
        </p:nvGrpSpPr>
        <p:grpSpPr bwMode="auto">
          <a:xfrm>
            <a:off x="1306513" y="2835275"/>
            <a:ext cx="1195387" cy="1047750"/>
            <a:chOff x="6198959" y="1284276"/>
            <a:chExt cx="1403692" cy="1230836"/>
          </a:xfrm>
        </p:grpSpPr>
        <p:sp>
          <p:nvSpPr>
            <p:cNvPr id="73" name="TextBox 11"/>
            <p:cNvSpPr txBox="1">
              <a:spLocks noChangeArrowheads="1"/>
            </p:cNvSpPr>
            <p:nvPr/>
          </p:nvSpPr>
          <p:spPr bwMode="auto">
            <a:xfrm>
              <a:off x="6198959" y="1284276"/>
              <a:ext cx="1403692" cy="57812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4" name="直接箭头连接符 73"/>
            <p:cNvCxnSpPr/>
            <p:nvPr/>
          </p:nvCxnSpPr>
          <p:spPr bwMode="auto">
            <a:xfrm flipV="1">
              <a:off x="6862591" y="1836287"/>
              <a:ext cx="0" cy="678825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组合 92"/>
          <p:cNvGrpSpPr/>
          <p:nvPr/>
        </p:nvGrpSpPr>
        <p:grpSpPr bwMode="auto">
          <a:xfrm>
            <a:off x="6116638" y="1008063"/>
            <a:ext cx="1670050" cy="1047750"/>
            <a:chOff x="6198959" y="1284276"/>
            <a:chExt cx="1963025" cy="1230836"/>
          </a:xfrm>
        </p:grpSpPr>
        <p:sp>
          <p:nvSpPr>
            <p:cNvPr id="76" name="TextBox 11"/>
            <p:cNvSpPr txBox="1">
              <a:spLocks noChangeArrowheads="1"/>
            </p:cNvSpPr>
            <p:nvPr/>
          </p:nvSpPr>
          <p:spPr bwMode="auto">
            <a:xfrm>
              <a:off x="6198959" y="1284276"/>
              <a:ext cx="1963025" cy="57812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7" name="直接箭头连接符 76"/>
            <p:cNvCxnSpPr/>
            <p:nvPr/>
          </p:nvCxnSpPr>
          <p:spPr bwMode="auto">
            <a:xfrm flipV="1">
              <a:off x="6863253" y="1836287"/>
              <a:ext cx="0" cy="678825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80" name="图片 7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7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直接连接符 15"/>
          <p:cNvCxnSpPr>
            <a:cxnSpLocks noChangeShapeType="1"/>
          </p:cNvCxnSpPr>
          <p:nvPr/>
        </p:nvCxnSpPr>
        <p:spPr bwMode="auto">
          <a:xfrm rot="5400000">
            <a:off x="2890838" y="3051175"/>
            <a:ext cx="3351212" cy="1588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5" name="直接连接符 15"/>
          <p:cNvCxnSpPr>
            <a:cxnSpLocks noChangeShapeType="1"/>
          </p:cNvCxnSpPr>
          <p:nvPr/>
        </p:nvCxnSpPr>
        <p:spPr bwMode="auto">
          <a:xfrm rot="5400000">
            <a:off x="4876801" y="3051175"/>
            <a:ext cx="3351212" cy="1587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6" name="直接连接符 15"/>
          <p:cNvCxnSpPr>
            <a:cxnSpLocks noChangeShapeType="1"/>
          </p:cNvCxnSpPr>
          <p:nvPr/>
        </p:nvCxnSpPr>
        <p:spPr bwMode="auto">
          <a:xfrm rot="5400000">
            <a:off x="1039019" y="3051969"/>
            <a:ext cx="3351212" cy="0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grpSp>
        <p:nvGrpSpPr>
          <p:cNvPr id="57" name="组合 56"/>
          <p:cNvGrpSpPr/>
          <p:nvPr/>
        </p:nvGrpSpPr>
        <p:grpSpPr bwMode="auto">
          <a:xfrm>
            <a:off x="903288" y="1449388"/>
            <a:ext cx="1811337" cy="3071812"/>
            <a:chOff x="902814" y="1314926"/>
            <a:chExt cx="1811337" cy="3070886"/>
          </a:xfrm>
        </p:grpSpPr>
        <p:sp>
          <p:nvSpPr>
            <p:cNvPr id="11296" name="TextBox 43"/>
            <p:cNvSpPr txBox="1">
              <a:spLocks noChangeArrowheads="1"/>
            </p:cNvSpPr>
            <p:nvPr/>
          </p:nvSpPr>
          <p:spPr bwMode="auto">
            <a:xfrm>
              <a:off x="902814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860076" y="212589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298" name="组合 10"/>
            <p:cNvGrpSpPr/>
            <p:nvPr/>
          </p:nvGrpSpPr>
          <p:grpSpPr bwMode="auto">
            <a:xfrm>
              <a:off x="1445739" y="2383256"/>
              <a:ext cx="1069975" cy="2002556"/>
              <a:chOff x="1445739" y="2383256"/>
              <a:chExt cx="1069975" cy="2002556"/>
            </a:xfrm>
          </p:grpSpPr>
          <p:sp>
            <p:nvSpPr>
              <p:cNvPr id="61" name="矩形 60"/>
              <p:cNvSpPr/>
              <p:nvPr/>
            </p:nvSpPr>
            <p:spPr bwMode="auto">
              <a:xfrm>
                <a:off x="2162963" y="2383256"/>
                <a:ext cx="159569" cy="16909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>
                <a:noFill/>
              </a:ln>
              <a:effectLst/>
              <a:scene3d>
                <a:camera prst="orthographicFront"/>
                <a:lightRig rig="flat" dir="t"/>
              </a:scene3d>
              <a:sp3d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540989" y="4108084"/>
                <a:ext cx="536575" cy="27772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Rectangle 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979139" y="4108084"/>
                <a:ext cx="536575" cy="27772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4" name="Rectangle 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445739" y="2429015"/>
                <a:ext cx="735012" cy="27614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5" name="矩形 64"/>
              <p:cNvSpPr/>
              <p:nvPr/>
            </p:nvSpPr>
            <p:spPr bwMode="auto">
              <a:xfrm>
                <a:off x="1741365" y="2699938"/>
                <a:ext cx="159569" cy="1374306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12700">
                <a:noFill/>
              </a:ln>
              <a:effectLst/>
              <a:scene3d>
                <a:camera prst="orthographicFront"/>
                <a:lightRig rig="flat" dir="t"/>
              </a:scene3d>
              <a:sp3d>
                <a:contourClr>
                  <a:srgbClr val="89FF8C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66" name="组合 65"/>
          <p:cNvGrpSpPr/>
          <p:nvPr/>
        </p:nvGrpSpPr>
        <p:grpSpPr bwMode="auto">
          <a:xfrm>
            <a:off x="2735263" y="1449388"/>
            <a:ext cx="1809750" cy="3071812"/>
            <a:chOff x="2735539" y="1314926"/>
            <a:chExt cx="1809750" cy="3070886"/>
          </a:xfrm>
        </p:grpSpPr>
        <p:sp>
          <p:nvSpPr>
            <p:cNvPr id="67" name="矩形 66"/>
            <p:cNvSpPr/>
            <p:nvPr/>
          </p:nvSpPr>
          <p:spPr bwMode="auto">
            <a:xfrm>
              <a:off x="3809709" y="2383256"/>
              <a:ext cx="159569" cy="16909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87976" y="4108084"/>
              <a:ext cx="53657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26126" y="4108084"/>
              <a:ext cx="534988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92" name="TextBox 43"/>
            <p:cNvSpPr txBox="1">
              <a:spLocks noChangeArrowheads="1"/>
            </p:cNvSpPr>
            <p:nvPr/>
          </p:nvSpPr>
          <p:spPr bwMode="auto">
            <a:xfrm>
              <a:off x="2735539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03839" y="2440124"/>
              <a:ext cx="73342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516589" y="213700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矩形 72"/>
            <p:cNvSpPr/>
            <p:nvPr/>
          </p:nvSpPr>
          <p:spPr bwMode="auto">
            <a:xfrm>
              <a:off x="3388477" y="2699938"/>
              <a:ext cx="159569" cy="13743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4" name="组合 73"/>
          <p:cNvGrpSpPr/>
          <p:nvPr/>
        </p:nvGrpSpPr>
        <p:grpSpPr bwMode="auto">
          <a:xfrm>
            <a:off x="4608513" y="1449388"/>
            <a:ext cx="1809750" cy="3071812"/>
            <a:chOff x="4607771" y="1314926"/>
            <a:chExt cx="1809750" cy="3070886"/>
          </a:xfrm>
        </p:grpSpPr>
        <p:sp>
          <p:nvSpPr>
            <p:cNvPr id="75" name="矩形 74"/>
            <p:cNvSpPr/>
            <p:nvPr/>
          </p:nvSpPr>
          <p:spPr bwMode="auto">
            <a:xfrm>
              <a:off x="5779978" y="1962421"/>
              <a:ext cx="159569" cy="211182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158633" y="4108084"/>
              <a:ext cx="53657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Rectangle 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596783" y="4108084"/>
              <a:ext cx="534988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85" name="TextBox 43"/>
            <p:cNvSpPr txBox="1">
              <a:spLocks noChangeArrowheads="1"/>
            </p:cNvSpPr>
            <p:nvPr/>
          </p:nvSpPr>
          <p:spPr bwMode="auto">
            <a:xfrm>
              <a:off x="4607771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68146" y="1851339"/>
              <a:ext cx="735012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482483" y="170533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 bwMode="auto">
            <a:xfrm>
              <a:off x="5358746" y="2114430"/>
              <a:ext cx="159569" cy="195981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2" name="组合 81"/>
          <p:cNvGrpSpPr/>
          <p:nvPr/>
        </p:nvGrpSpPr>
        <p:grpSpPr bwMode="auto">
          <a:xfrm>
            <a:off x="6542088" y="1449388"/>
            <a:ext cx="1811337" cy="3071812"/>
            <a:chOff x="6541649" y="1314926"/>
            <a:chExt cx="1811337" cy="3070886"/>
          </a:xfrm>
        </p:grpSpPr>
        <p:sp>
          <p:nvSpPr>
            <p:cNvPr id="83" name="矩形 82"/>
            <p:cNvSpPr/>
            <p:nvPr/>
          </p:nvSpPr>
          <p:spPr bwMode="auto">
            <a:xfrm>
              <a:off x="7601113" y="2642231"/>
              <a:ext cx="159569" cy="14320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Rectangle 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979799" y="4108084"/>
              <a:ext cx="534987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7949" y="4108084"/>
              <a:ext cx="534987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78" name="TextBox 43"/>
            <p:cNvSpPr txBox="1">
              <a:spLocks noChangeArrowheads="1"/>
            </p:cNvSpPr>
            <p:nvPr/>
          </p:nvSpPr>
          <p:spPr bwMode="auto">
            <a:xfrm>
              <a:off x="6541649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Rectangle 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889311" y="2608348"/>
              <a:ext cx="73342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302061" y="2368708"/>
              <a:ext cx="735013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矩形 88"/>
            <p:cNvSpPr/>
            <p:nvPr/>
          </p:nvSpPr>
          <p:spPr bwMode="auto">
            <a:xfrm>
              <a:off x="7179881" y="2881503"/>
              <a:ext cx="159569" cy="119274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273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1274" name="图片 3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3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0" dur="3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3" dur="3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34988" y="3903663"/>
            <a:ext cx="7948612" cy="760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eaLnBrk="1" fontAlgn="auto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</a:t>
            </a:r>
            <a:endParaRPr lang="en-US" altLang="zh-CN" sz="1200" kern="1400" spc="-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" y="1589088"/>
            <a:ext cx="8337550" cy="219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2293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0" y="1400175"/>
            <a:ext cx="9144000" cy="36750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385763" y="1697038"/>
            <a:ext cx="8628062" cy="32877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3" y="1693863"/>
            <a:ext cx="4425950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788" y="1697038"/>
            <a:ext cx="3602037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5926138" y="1697038"/>
            <a:ext cx="3217862" cy="329406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0" y="1693863"/>
            <a:ext cx="3863975" cy="3290887"/>
          </a:xfrm>
          <a:prstGeom prst="rect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889000" y="1693863"/>
            <a:ext cx="1768475" cy="3290887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391275" y="1703388"/>
            <a:ext cx="1746250" cy="3279775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7" name="TextBox 16"/>
          <p:cNvSpPr txBox="1"/>
          <p:nvPr/>
        </p:nvSpPr>
        <p:spPr bwMode="auto">
          <a:xfrm>
            <a:off x="1089025" y="793750"/>
            <a:ext cx="3732213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spc="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b="1" spc="6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84774" y="1634394"/>
            <a:ext cx="923330" cy="3112775"/>
          </a:xfrm>
          <a:prstGeom prst="rect">
            <a:avLst/>
          </a:prstGeom>
          <a:noFill/>
        </p:spPr>
        <p:txBody>
          <a:bodyPr vert="eaVert"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en-US" altLang="zh-CN" sz="4800" dirty="0" smtClean="0">
                <a:solidFill>
                  <a:schemeClr val="bg1">
                    <a:lumMod val="50000"/>
                    <a:alpha val="30000"/>
                  </a:schemeClr>
                </a:solidFill>
                <a:latin typeface="Garamond" panose="02020404030301010803" pitchFamily="18" charset="0"/>
                <a:ea typeface="+mn-ea"/>
              </a:rPr>
              <a:t>BUSINESS</a:t>
            </a:r>
            <a:endParaRPr lang="en-US" altLang="zh-CN" sz="4800" dirty="0">
              <a:solidFill>
                <a:schemeClr val="bg1">
                  <a:lumMod val="50000"/>
                  <a:alpha val="30000"/>
                </a:schemeClr>
              </a:solidFill>
              <a:latin typeface="Garamond" panose="02020404030301010803" pitchFamily="18" charset="0"/>
              <a:ea typeface="+mn-ea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7135813" y="1433513"/>
            <a:ext cx="1878012" cy="2143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00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商务及相关类别演示</a:t>
            </a:r>
            <a:endParaRPr lang="zh-CN" altLang="en-US" sz="800" spc="3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1089025" y="257175"/>
            <a:ext cx="3721100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b="1" spc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ea typeface="微软雅黑" panose="020B0503020204020204" pitchFamily="34" charset="-122"/>
              </a:rPr>
              <a:t>THANK YOU</a:t>
            </a:r>
            <a:endParaRPr lang="zh-CN" altLang="en-US" sz="3600" b="1" spc="600" dirty="0">
              <a:solidFill>
                <a:schemeClr val="bg1">
                  <a:lumMod val="50000"/>
                </a:schemeClr>
              </a:solidFill>
              <a:latin typeface="Garamond" panose="02020404030301010803" pitchFamily="18" charset="0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4" grpId="0" animBg="1"/>
      <p:bldP spid="9" grpId="0" animBg="1"/>
      <p:bldP spid="10" grpId="0" animBg="1"/>
      <p:bldP spid="11" grpId="0" animBg="1"/>
      <p:bldP spid="12" grpId="0" animBg="1"/>
      <p:bldP spid="17" grpId="0"/>
      <p:bldP spid="33" grpId="0"/>
      <p:bldP spid="34" grpId="0"/>
    </p:bldLst>
  </p:timing>
</p:sld>
</file>

<file path=ppt/tags/tag1.xml><?xml version="1.0" encoding="utf-8"?>
<p:tagLst xmlns:p="http://schemas.openxmlformats.org/presentationml/2006/main">
  <p:tag name="THINKCELLSHAPEDONOTDELETE" val="p8zw1LBPeHUuOoWwmQfWKDQ"/>
</p:tagLst>
</file>

<file path=ppt/tags/tag10.xml><?xml version="1.0" encoding="utf-8"?>
<p:tagLst xmlns:p="http://schemas.openxmlformats.org/presentationml/2006/main">
  <p:tag name="THINKCELLSHAPEDONOTDELETE" val="p8zw1LBPeHUuOoWwmQfWKDQ"/>
</p:tagLst>
</file>

<file path=ppt/tags/tag11.xml><?xml version="1.0" encoding="utf-8"?>
<p:tagLst xmlns:p="http://schemas.openxmlformats.org/presentationml/2006/main">
  <p:tag name="THINKCELLSHAPEDONOTDELETE" val="p8zw1LBPeHUuOoWwmQfWKDQ"/>
</p:tagLst>
</file>

<file path=ppt/tags/tag12.xml><?xml version="1.0" encoding="utf-8"?>
<p:tagLst xmlns:p="http://schemas.openxmlformats.org/presentationml/2006/main">
  <p:tag name="THINKCELLSHAPEDONOTDELETE" val="p8zw1LBPeHUuOoWwmQfWKDQ"/>
</p:tagLst>
</file>

<file path=ppt/tags/tag13.xml><?xml version="1.0" encoding="utf-8"?>
<p:tagLst xmlns:p="http://schemas.openxmlformats.org/presentationml/2006/main">
  <p:tag name="THINKCELLSHAPEDONOTDELETE" val="p8zw1LBPeHUuOoWwmQfWKDQ"/>
</p:tagLst>
</file>

<file path=ppt/tags/tag14.xml><?xml version="1.0" encoding="utf-8"?>
<p:tagLst xmlns:p="http://schemas.openxmlformats.org/presentationml/2006/main">
  <p:tag name="THINKCELLSHAPEDONOTDELETE" val="p8zw1LBPeHUuOoWwmQfWKDQ"/>
</p:tagLst>
</file>

<file path=ppt/tags/tag15.xml><?xml version="1.0" encoding="utf-8"?>
<p:tagLst xmlns:p="http://schemas.openxmlformats.org/presentationml/2006/main">
  <p:tag name="THINKCELLSHAPEDONOTDELETE" val="p8zw1LBPeHUuOoWwmQfWKDQ"/>
</p:tagLst>
</file>

<file path=ppt/tags/tag16.xml><?xml version="1.0" encoding="utf-8"?>
<p:tagLst xmlns:p="http://schemas.openxmlformats.org/presentationml/2006/main">
  <p:tag name="THINKCELLSHAPEDONOTDELETE" val="p8zw1LBPeHUuOoWwmQfWKDQ"/>
</p:tagLst>
</file>

<file path=ppt/tags/tag2.xml><?xml version="1.0" encoding="utf-8"?>
<p:tagLst xmlns:p="http://schemas.openxmlformats.org/presentationml/2006/main">
  <p:tag name="THINKCELLSHAPEDONOTDELETE" val="p8zw1LBPeHUuOoWwmQfWKDQ"/>
</p:tagLst>
</file>

<file path=ppt/tags/tag3.xml><?xml version="1.0" encoding="utf-8"?>
<p:tagLst xmlns:p="http://schemas.openxmlformats.org/presentationml/2006/main">
  <p:tag name="THINKCELLSHAPEDONOTDELETE" val="p8zw1LBPeHUuOoWwmQfWKDQ"/>
</p:tagLst>
</file>

<file path=ppt/tags/tag4.xml><?xml version="1.0" encoding="utf-8"?>
<p:tagLst xmlns:p="http://schemas.openxmlformats.org/presentationml/2006/main">
  <p:tag name="THINKCELLSHAPEDONOTDELETE" val="p8zw1LBPeHUuOoWwmQfWKDQ"/>
</p:tagLst>
</file>

<file path=ppt/tags/tag5.xml><?xml version="1.0" encoding="utf-8"?>
<p:tagLst xmlns:p="http://schemas.openxmlformats.org/presentationml/2006/main">
  <p:tag name="THINKCELLSHAPEDONOTDELETE" val="p8zw1LBPeHUuOoWwmQfWKDQ"/>
</p:tagLst>
</file>

<file path=ppt/tags/tag6.xml><?xml version="1.0" encoding="utf-8"?>
<p:tagLst xmlns:p="http://schemas.openxmlformats.org/presentationml/2006/main">
  <p:tag name="THINKCELLSHAPEDONOTDELETE" val="p8zw1LBPeHUuOoWwmQfWKDQ"/>
</p:tagLst>
</file>

<file path=ppt/tags/tag7.xml><?xml version="1.0" encoding="utf-8"?>
<p:tagLst xmlns:p="http://schemas.openxmlformats.org/presentationml/2006/main">
  <p:tag name="THINKCELLSHAPEDONOTDELETE" val="p8zw1LBPeHUuOoWwmQfWKDQ"/>
</p:tagLst>
</file>

<file path=ppt/tags/tag8.xml><?xml version="1.0" encoding="utf-8"?>
<p:tagLst xmlns:p="http://schemas.openxmlformats.org/presentationml/2006/main">
  <p:tag name="THINKCELLSHAPEDONOTDELETE" val="p8zw1LBPeHUuOoWwmQfWKDQ"/>
</p:tagLst>
</file>

<file path=ppt/tags/tag9.xml><?xml version="1.0" encoding="utf-8"?>
<p:tagLst xmlns:p="http://schemas.openxmlformats.org/presentationml/2006/main">
  <p:tag name="THINKCELLSHAPEDONOTDELETE" val="p8zw1LBPeHUuOoWwmQfWKDQ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3</Words>
  <Application>WPS 演示</Application>
  <PresentationFormat>全屏显示(16:9)</PresentationFormat>
  <Paragraphs>142</Paragraphs>
  <Slides>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0" baseType="lpstr">
      <vt:lpstr>Arial</vt:lpstr>
      <vt:lpstr>宋体</vt:lpstr>
      <vt:lpstr>Wingdings</vt:lpstr>
      <vt:lpstr>Calibri</vt:lpstr>
      <vt:lpstr>微软雅黑</vt:lpstr>
      <vt:lpstr>Garamond</vt:lpstr>
      <vt:lpstr>方正综艺简体</vt:lpstr>
      <vt:lpstr>华文细黑</vt:lpstr>
      <vt:lpstr>Segoe UI</vt:lpstr>
      <vt:lpstr>Arial Unicode MS</vt:lpstr>
      <vt:lpstr>等线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120168D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5</cp:revision>
  <dcterms:created xsi:type="dcterms:W3CDTF">2012-09-07T06:36:00Z</dcterms:created>
  <dcterms:modified xsi:type="dcterms:W3CDTF">2018-08-28T06:4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